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284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0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60A5B1-0333-C389-CACB-08F5288923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4C028E59-BEC5-3E1E-DBC5-F274E7A1C1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C028E59-BEC5-3E1E-DBC5-F274E7A1C1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96825C7-41FE-BD4C-0E23-EC09679839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imeline 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AFD4442E-6BF3-16FB-03B5-B3793F0F827E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5" name="Google Shape;5613;p85">
            <a:extLst>
              <a:ext uri="{FF2B5EF4-FFF2-40B4-BE49-F238E27FC236}">
                <a16:creationId xmlns:a16="http://schemas.microsoft.com/office/drawing/2014/main" id="{EE01CCFB-FF85-9EB4-E16D-BB8CC7B0E754}"/>
              </a:ext>
            </a:extLst>
          </p:cNvPr>
          <p:cNvSpPr/>
          <p:nvPr/>
        </p:nvSpPr>
        <p:spPr>
          <a:xfrm>
            <a:off x="630475" y="1900701"/>
            <a:ext cx="10953393" cy="65527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sz="2400" dirty="0">
              <a:cs typeface="Arial" panose="020B0604020202020204" pitchFamily="34" charset="0"/>
            </a:endParaRPr>
          </a:p>
        </p:txBody>
      </p:sp>
      <p:cxnSp>
        <p:nvCxnSpPr>
          <p:cNvPr id="26" name="Shape1_20220429_101214">
            <a:extLst>
              <a:ext uri="{FF2B5EF4-FFF2-40B4-BE49-F238E27FC236}">
                <a16:creationId xmlns:a16="http://schemas.microsoft.com/office/drawing/2014/main" id="{A1D3B775-5E99-3253-E7B0-7F84A8172093}"/>
              </a:ext>
            </a:extLst>
          </p:cNvPr>
          <p:cNvCxnSpPr/>
          <p:nvPr/>
        </p:nvCxnSpPr>
        <p:spPr>
          <a:xfrm>
            <a:off x="630475" y="1957894"/>
            <a:ext cx="10953393" cy="0"/>
          </a:xfrm>
          <a:prstGeom prst="straightConnector1">
            <a:avLst/>
          </a:prstGeom>
          <a:noFill/>
          <a:ln w="9525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27" name="Shape2_20220429_101214">
            <a:extLst>
              <a:ext uri="{FF2B5EF4-FFF2-40B4-BE49-F238E27FC236}">
                <a16:creationId xmlns:a16="http://schemas.microsoft.com/office/drawing/2014/main" id="{CBB57329-0356-F998-FDAA-7AA93A98CCE2}"/>
              </a:ext>
            </a:extLst>
          </p:cNvPr>
          <p:cNvCxnSpPr/>
          <p:nvPr/>
        </p:nvCxnSpPr>
        <p:spPr>
          <a:xfrm>
            <a:off x="630475" y="2503597"/>
            <a:ext cx="10953393" cy="0"/>
          </a:xfrm>
          <a:prstGeom prst="straightConnector1">
            <a:avLst/>
          </a:prstGeom>
          <a:noFill/>
          <a:ln w="9525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28" name="Shape0_20220429_101214">
            <a:extLst>
              <a:ext uri="{FF2B5EF4-FFF2-40B4-BE49-F238E27FC236}">
                <a16:creationId xmlns:a16="http://schemas.microsoft.com/office/drawing/2014/main" id="{31B53E36-72FD-BA05-BC96-1B21407B02BA}"/>
              </a:ext>
            </a:extLst>
          </p:cNvPr>
          <p:cNvCxnSpPr/>
          <p:nvPr/>
        </p:nvCxnSpPr>
        <p:spPr>
          <a:xfrm>
            <a:off x="630475" y="2230744"/>
            <a:ext cx="10953393" cy="0"/>
          </a:xfrm>
          <a:prstGeom prst="straightConnector1">
            <a:avLst/>
          </a:prstGeom>
          <a:noFill/>
          <a:ln w="9525" cap="flat" cmpd="sng">
            <a:solidFill>
              <a:schemeClr val="accent6"/>
            </a:solidFill>
            <a:prstDash val="dash"/>
            <a:miter lim="800000"/>
            <a:headEnd type="none" w="sm" len="sm"/>
            <a:tailEnd type="none" w="sm" len="sm"/>
          </a:ln>
        </p:spPr>
      </p:cxnSp>
      <p:sp>
        <p:nvSpPr>
          <p:cNvPr id="29" name="Google Shape;5623;p85">
            <a:extLst>
              <a:ext uri="{FF2B5EF4-FFF2-40B4-BE49-F238E27FC236}">
                <a16:creationId xmlns:a16="http://schemas.microsoft.com/office/drawing/2014/main" id="{8D653B22-1D06-B0E3-7AEE-9D40B314B651}"/>
              </a:ext>
            </a:extLst>
          </p:cNvPr>
          <p:cNvSpPr txBox="1"/>
          <p:nvPr/>
        </p:nvSpPr>
        <p:spPr>
          <a:xfrm>
            <a:off x="3178615" y="2676461"/>
            <a:ext cx="1801287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30" name="Google Shape;5629;p85">
            <a:extLst>
              <a:ext uri="{FF2B5EF4-FFF2-40B4-BE49-F238E27FC236}">
                <a16:creationId xmlns:a16="http://schemas.microsoft.com/office/drawing/2014/main" id="{77D57241-404A-C99E-A167-6EC09EAD7525}"/>
              </a:ext>
            </a:extLst>
          </p:cNvPr>
          <p:cNvSpPr txBox="1"/>
          <p:nvPr/>
        </p:nvSpPr>
        <p:spPr>
          <a:xfrm>
            <a:off x="1150543" y="2676461"/>
            <a:ext cx="1801287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31" name="Google Shape;5635;p85">
            <a:extLst>
              <a:ext uri="{FF2B5EF4-FFF2-40B4-BE49-F238E27FC236}">
                <a16:creationId xmlns:a16="http://schemas.microsoft.com/office/drawing/2014/main" id="{6B103E11-1AD2-9F9D-B8A9-DA7F2CBCA1A3}"/>
              </a:ext>
            </a:extLst>
          </p:cNvPr>
          <p:cNvSpPr txBox="1"/>
          <p:nvPr/>
        </p:nvSpPr>
        <p:spPr>
          <a:xfrm>
            <a:off x="7234760" y="2676461"/>
            <a:ext cx="1801287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32" name="Google Shape;5641;p85">
            <a:extLst>
              <a:ext uri="{FF2B5EF4-FFF2-40B4-BE49-F238E27FC236}">
                <a16:creationId xmlns:a16="http://schemas.microsoft.com/office/drawing/2014/main" id="{DE527B15-4CDA-7F2F-02B8-88CCFF82AD64}"/>
              </a:ext>
            </a:extLst>
          </p:cNvPr>
          <p:cNvSpPr txBox="1"/>
          <p:nvPr/>
        </p:nvSpPr>
        <p:spPr>
          <a:xfrm>
            <a:off x="5206690" y="2676461"/>
            <a:ext cx="1801287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33" name="Google Shape;5651;p85">
            <a:extLst>
              <a:ext uri="{FF2B5EF4-FFF2-40B4-BE49-F238E27FC236}">
                <a16:creationId xmlns:a16="http://schemas.microsoft.com/office/drawing/2014/main" id="{EF83B538-E251-565D-8D90-C67AC7D2C4EE}"/>
              </a:ext>
            </a:extLst>
          </p:cNvPr>
          <p:cNvSpPr txBox="1"/>
          <p:nvPr/>
        </p:nvSpPr>
        <p:spPr>
          <a:xfrm>
            <a:off x="9262834" y="2676461"/>
            <a:ext cx="1801287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cxnSp>
        <p:nvCxnSpPr>
          <p:cNvPr id="34" name="Shape1_20221012_151024">
            <a:extLst>
              <a:ext uri="{FF2B5EF4-FFF2-40B4-BE49-F238E27FC236}">
                <a16:creationId xmlns:a16="http://schemas.microsoft.com/office/drawing/2014/main" id="{3E13B10C-F8BE-8853-4051-6FD30748DD27}"/>
              </a:ext>
            </a:extLst>
          </p:cNvPr>
          <p:cNvCxnSpPr/>
          <p:nvPr/>
        </p:nvCxnSpPr>
        <p:spPr>
          <a:xfrm>
            <a:off x="3065219" y="2572430"/>
            <a:ext cx="0" cy="3296435"/>
          </a:xfrm>
          <a:prstGeom prst="straightConnector1">
            <a:avLst/>
          </a:prstGeom>
          <a:noFill/>
          <a:ln w="9525" cap="flat" cmpd="sng">
            <a:solidFill>
              <a:schemeClr val="bg2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35" name="Shape0_20221012_151024">
            <a:extLst>
              <a:ext uri="{FF2B5EF4-FFF2-40B4-BE49-F238E27FC236}">
                <a16:creationId xmlns:a16="http://schemas.microsoft.com/office/drawing/2014/main" id="{0728D14A-DC91-99A7-8116-86DC894B0BD7}"/>
              </a:ext>
            </a:extLst>
          </p:cNvPr>
          <p:cNvCxnSpPr/>
          <p:nvPr/>
        </p:nvCxnSpPr>
        <p:spPr>
          <a:xfrm>
            <a:off x="5093288" y="2572430"/>
            <a:ext cx="0" cy="3296435"/>
          </a:xfrm>
          <a:prstGeom prst="straightConnector1">
            <a:avLst/>
          </a:prstGeom>
          <a:noFill/>
          <a:ln w="9525" cap="flat" cmpd="sng">
            <a:solidFill>
              <a:schemeClr val="bg2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36" name="Shape2_20221012_151024">
            <a:extLst>
              <a:ext uri="{FF2B5EF4-FFF2-40B4-BE49-F238E27FC236}">
                <a16:creationId xmlns:a16="http://schemas.microsoft.com/office/drawing/2014/main" id="{96A97246-76F7-319E-BF2A-FB7C0EC961E5}"/>
              </a:ext>
            </a:extLst>
          </p:cNvPr>
          <p:cNvCxnSpPr/>
          <p:nvPr/>
        </p:nvCxnSpPr>
        <p:spPr>
          <a:xfrm>
            <a:off x="7121363" y="2572430"/>
            <a:ext cx="0" cy="3296435"/>
          </a:xfrm>
          <a:prstGeom prst="straightConnector1">
            <a:avLst/>
          </a:prstGeom>
          <a:noFill/>
          <a:ln w="9525" cap="flat" cmpd="sng">
            <a:solidFill>
              <a:schemeClr val="bg2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37" name="Shape3_20221012_151024">
            <a:extLst>
              <a:ext uri="{FF2B5EF4-FFF2-40B4-BE49-F238E27FC236}">
                <a16:creationId xmlns:a16="http://schemas.microsoft.com/office/drawing/2014/main" id="{C4AC55CD-D5D7-3500-D209-36BC1948314B}"/>
              </a:ext>
            </a:extLst>
          </p:cNvPr>
          <p:cNvCxnSpPr/>
          <p:nvPr/>
        </p:nvCxnSpPr>
        <p:spPr>
          <a:xfrm>
            <a:off x="9149437" y="2572430"/>
            <a:ext cx="0" cy="3296435"/>
          </a:xfrm>
          <a:prstGeom prst="straightConnector1">
            <a:avLst/>
          </a:prstGeom>
          <a:noFill/>
          <a:ln w="9525" cap="flat" cmpd="sng">
            <a:solidFill>
              <a:schemeClr val="bg2"/>
            </a:solidFill>
            <a:prstDash val="solid"/>
            <a:round/>
            <a:headEnd type="none" w="sm" len="sm"/>
            <a:tailEnd type="none" w="sm" len="sm"/>
          </a:ln>
        </p:spPr>
      </p:cxnSp>
      <p:grpSp>
        <p:nvGrpSpPr>
          <p:cNvPr id="38" name="Group 37">
            <a:extLst>
              <a:ext uri="{FF2B5EF4-FFF2-40B4-BE49-F238E27FC236}">
                <a16:creationId xmlns:a16="http://schemas.microsoft.com/office/drawing/2014/main" id="{85AB9DF0-6097-A2C6-3581-71F15AAAEA42}"/>
              </a:ext>
            </a:extLst>
          </p:cNvPr>
          <p:cNvGrpSpPr/>
          <p:nvPr/>
        </p:nvGrpSpPr>
        <p:grpSpPr>
          <a:xfrm>
            <a:off x="1781229" y="1388728"/>
            <a:ext cx="539911" cy="740656"/>
            <a:chOff x="1762393" y="1525451"/>
            <a:chExt cx="540868" cy="741968"/>
          </a:xfrm>
        </p:grpSpPr>
        <p:sp>
          <p:nvSpPr>
            <p:cNvPr id="39" name="Google Shape;2244;p66">
              <a:extLst>
                <a:ext uri="{FF2B5EF4-FFF2-40B4-BE49-F238E27FC236}">
                  <a16:creationId xmlns:a16="http://schemas.microsoft.com/office/drawing/2014/main" id="{7D5FFA34-9195-0CCE-F324-7BBA31FB1584}"/>
                </a:ext>
              </a:extLst>
            </p:cNvPr>
            <p:cNvSpPr/>
            <p:nvPr/>
          </p:nvSpPr>
          <p:spPr>
            <a:xfrm>
              <a:off x="1762393" y="1529878"/>
              <a:ext cx="540866" cy="737541"/>
            </a:xfrm>
            <a:custGeom>
              <a:avLst/>
              <a:gdLst/>
              <a:ahLst/>
              <a:cxnLst/>
              <a:rect l="l" t="t" r="r" b="b"/>
              <a:pathLst>
                <a:path w="1407" h="1921" extrusionOk="0">
                  <a:moveTo>
                    <a:pt x="703" y="1921"/>
                  </a:moveTo>
                  <a:lnTo>
                    <a:pt x="680" y="1909"/>
                  </a:lnTo>
                  <a:lnTo>
                    <a:pt x="630" y="1879"/>
                  </a:lnTo>
                  <a:lnTo>
                    <a:pt x="548" y="1817"/>
                  </a:lnTo>
                  <a:lnTo>
                    <a:pt x="431" y="1703"/>
                  </a:lnTo>
                  <a:lnTo>
                    <a:pt x="315" y="1562"/>
                  </a:lnTo>
                  <a:lnTo>
                    <a:pt x="206" y="1396"/>
                  </a:lnTo>
                  <a:lnTo>
                    <a:pt x="134" y="1260"/>
                  </a:lnTo>
                  <a:lnTo>
                    <a:pt x="93" y="1164"/>
                  </a:lnTo>
                  <a:lnTo>
                    <a:pt x="58" y="1065"/>
                  </a:lnTo>
                  <a:lnTo>
                    <a:pt x="31" y="964"/>
                  </a:lnTo>
                  <a:lnTo>
                    <a:pt x="11" y="860"/>
                  </a:lnTo>
                  <a:lnTo>
                    <a:pt x="1" y="757"/>
                  </a:lnTo>
                  <a:lnTo>
                    <a:pt x="0" y="704"/>
                  </a:lnTo>
                  <a:lnTo>
                    <a:pt x="0" y="667"/>
                  </a:lnTo>
                  <a:lnTo>
                    <a:pt x="7" y="597"/>
                  </a:lnTo>
                  <a:lnTo>
                    <a:pt x="22" y="529"/>
                  </a:lnTo>
                  <a:lnTo>
                    <a:pt x="42" y="461"/>
                  </a:lnTo>
                  <a:lnTo>
                    <a:pt x="68" y="399"/>
                  </a:lnTo>
                  <a:lnTo>
                    <a:pt x="101" y="339"/>
                  </a:lnTo>
                  <a:lnTo>
                    <a:pt x="140" y="282"/>
                  </a:lnTo>
                  <a:lnTo>
                    <a:pt x="182" y="230"/>
                  </a:lnTo>
                  <a:lnTo>
                    <a:pt x="230" y="183"/>
                  </a:lnTo>
                  <a:lnTo>
                    <a:pt x="282" y="140"/>
                  </a:lnTo>
                  <a:lnTo>
                    <a:pt x="338" y="102"/>
                  </a:lnTo>
                  <a:lnTo>
                    <a:pt x="399" y="70"/>
                  </a:lnTo>
                  <a:lnTo>
                    <a:pt x="461" y="43"/>
                  </a:lnTo>
                  <a:lnTo>
                    <a:pt x="527" y="22"/>
                  </a:lnTo>
                  <a:lnTo>
                    <a:pt x="596" y="8"/>
                  </a:lnTo>
                  <a:lnTo>
                    <a:pt x="667" y="1"/>
                  </a:lnTo>
                  <a:lnTo>
                    <a:pt x="703" y="0"/>
                  </a:lnTo>
                  <a:lnTo>
                    <a:pt x="740" y="1"/>
                  </a:lnTo>
                  <a:lnTo>
                    <a:pt x="811" y="8"/>
                  </a:lnTo>
                  <a:lnTo>
                    <a:pt x="880" y="22"/>
                  </a:lnTo>
                  <a:lnTo>
                    <a:pt x="946" y="43"/>
                  </a:lnTo>
                  <a:lnTo>
                    <a:pt x="1009" y="70"/>
                  </a:lnTo>
                  <a:lnTo>
                    <a:pt x="1069" y="102"/>
                  </a:lnTo>
                  <a:lnTo>
                    <a:pt x="1125" y="140"/>
                  </a:lnTo>
                  <a:lnTo>
                    <a:pt x="1177" y="183"/>
                  </a:lnTo>
                  <a:lnTo>
                    <a:pt x="1225" y="230"/>
                  </a:lnTo>
                  <a:lnTo>
                    <a:pt x="1267" y="282"/>
                  </a:lnTo>
                  <a:lnTo>
                    <a:pt x="1306" y="339"/>
                  </a:lnTo>
                  <a:lnTo>
                    <a:pt x="1339" y="399"/>
                  </a:lnTo>
                  <a:lnTo>
                    <a:pt x="1365" y="461"/>
                  </a:lnTo>
                  <a:lnTo>
                    <a:pt x="1385" y="529"/>
                  </a:lnTo>
                  <a:lnTo>
                    <a:pt x="1400" y="597"/>
                  </a:lnTo>
                  <a:lnTo>
                    <a:pt x="1407" y="667"/>
                  </a:lnTo>
                  <a:lnTo>
                    <a:pt x="1407" y="704"/>
                  </a:lnTo>
                  <a:lnTo>
                    <a:pt x="1407" y="757"/>
                  </a:lnTo>
                  <a:lnTo>
                    <a:pt x="1397" y="860"/>
                  </a:lnTo>
                  <a:lnTo>
                    <a:pt x="1378" y="964"/>
                  </a:lnTo>
                  <a:lnTo>
                    <a:pt x="1349" y="1065"/>
                  </a:lnTo>
                  <a:lnTo>
                    <a:pt x="1314" y="1164"/>
                  </a:lnTo>
                  <a:lnTo>
                    <a:pt x="1273" y="1260"/>
                  </a:lnTo>
                  <a:lnTo>
                    <a:pt x="1201" y="1396"/>
                  </a:lnTo>
                  <a:lnTo>
                    <a:pt x="1092" y="1562"/>
                  </a:lnTo>
                  <a:lnTo>
                    <a:pt x="976" y="1703"/>
                  </a:lnTo>
                  <a:lnTo>
                    <a:pt x="859" y="1817"/>
                  </a:lnTo>
                  <a:lnTo>
                    <a:pt x="777" y="1879"/>
                  </a:lnTo>
                  <a:lnTo>
                    <a:pt x="727" y="1909"/>
                  </a:lnTo>
                  <a:lnTo>
                    <a:pt x="703" y="192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>
              <a:outerShdw blurRad="127000" sy="23000" kx="1200000" algn="br" rotWithShape="0">
                <a:srgbClr val="000000">
                  <a:alpha val="14117"/>
                </a:srgbClr>
              </a:outerShdw>
            </a:effectLst>
          </p:spPr>
          <p:txBody>
            <a:bodyPr spcFirstLastPara="1" wrap="square" lIns="150125" tIns="75042" rIns="150125" bIns="75042" anchor="t" anchorCtr="0"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sz="2000" dirty="0"/>
            </a:p>
          </p:txBody>
        </p:sp>
        <p:sp>
          <p:nvSpPr>
            <p:cNvPr id="40" name="Google Shape;2245;p66">
              <a:extLst>
                <a:ext uri="{FF2B5EF4-FFF2-40B4-BE49-F238E27FC236}">
                  <a16:creationId xmlns:a16="http://schemas.microsoft.com/office/drawing/2014/main" id="{5775801C-BEEF-56AF-1CC3-B5BD6401FFF8}"/>
                </a:ext>
              </a:extLst>
            </p:cNvPr>
            <p:cNvSpPr/>
            <p:nvPr/>
          </p:nvSpPr>
          <p:spPr>
            <a:xfrm>
              <a:off x="2032827" y="1525451"/>
              <a:ext cx="270434" cy="737541"/>
            </a:xfrm>
            <a:custGeom>
              <a:avLst/>
              <a:gdLst/>
              <a:ahLst/>
              <a:cxnLst/>
              <a:rect l="l" t="t" r="r" b="b"/>
              <a:pathLst>
                <a:path w="704" h="1921" extrusionOk="0">
                  <a:moveTo>
                    <a:pt x="0" y="0"/>
                  </a:moveTo>
                  <a:lnTo>
                    <a:pt x="37" y="1"/>
                  </a:lnTo>
                  <a:lnTo>
                    <a:pt x="108" y="8"/>
                  </a:lnTo>
                  <a:lnTo>
                    <a:pt x="177" y="22"/>
                  </a:lnTo>
                  <a:lnTo>
                    <a:pt x="243" y="43"/>
                  </a:lnTo>
                  <a:lnTo>
                    <a:pt x="306" y="70"/>
                  </a:lnTo>
                  <a:lnTo>
                    <a:pt x="366" y="102"/>
                  </a:lnTo>
                  <a:lnTo>
                    <a:pt x="422" y="140"/>
                  </a:lnTo>
                  <a:lnTo>
                    <a:pt x="474" y="183"/>
                  </a:lnTo>
                  <a:lnTo>
                    <a:pt x="522" y="230"/>
                  </a:lnTo>
                  <a:lnTo>
                    <a:pt x="564" y="282"/>
                  </a:lnTo>
                  <a:lnTo>
                    <a:pt x="603" y="339"/>
                  </a:lnTo>
                  <a:lnTo>
                    <a:pt x="636" y="399"/>
                  </a:lnTo>
                  <a:lnTo>
                    <a:pt x="662" y="461"/>
                  </a:lnTo>
                  <a:lnTo>
                    <a:pt x="682" y="529"/>
                  </a:lnTo>
                  <a:lnTo>
                    <a:pt x="697" y="597"/>
                  </a:lnTo>
                  <a:lnTo>
                    <a:pt x="704" y="667"/>
                  </a:lnTo>
                  <a:lnTo>
                    <a:pt x="704" y="704"/>
                  </a:lnTo>
                  <a:lnTo>
                    <a:pt x="704" y="757"/>
                  </a:lnTo>
                  <a:lnTo>
                    <a:pt x="694" y="860"/>
                  </a:lnTo>
                  <a:lnTo>
                    <a:pt x="675" y="964"/>
                  </a:lnTo>
                  <a:lnTo>
                    <a:pt x="646" y="1065"/>
                  </a:lnTo>
                  <a:lnTo>
                    <a:pt x="611" y="1164"/>
                  </a:lnTo>
                  <a:lnTo>
                    <a:pt x="570" y="1260"/>
                  </a:lnTo>
                  <a:lnTo>
                    <a:pt x="498" y="1396"/>
                  </a:lnTo>
                  <a:lnTo>
                    <a:pt x="389" y="1562"/>
                  </a:lnTo>
                  <a:lnTo>
                    <a:pt x="273" y="1703"/>
                  </a:lnTo>
                  <a:lnTo>
                    <a:pt x="156" y="1817"/>
                  </a:lnTo>
                  <a:lnTo>
                    <a:pt x="74" y="1879"/>
                  </a:lnTo>
                  <a:lnTo>
                    <a:pt x="24" y="1909"/>
                  </a:lnTo>
                  <a:lnTo>
                    <a:pt x="0" y="19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95167">
                <a:alpha val="29019"/>
              </a:srgbClr>
            </a:solidFill>
            <a:ln>
              <a:noFill/>
            </a:ln>
            <a:effectLst>
              <a:outerShdw blurRad="127000" sy="23000" kx="1200000" algn="br" rotWithShape="0">
                <a:srgbClr val="000000">
                  <a:alpha val="14117"/>
                </a:srgbClr>
              </a:outerShdw>
            </a:effectLst>
          </p:spPr>
          <p:txBody>
            <a:bodyPr spcFirstLastPara="1" wrap="square" lIns="150125" tIns="75042" rIns="150125" bIns="75042" anchor="t" anchorCtr="0"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sz="2000" dirty="0"/>
            </a:p>
          </p:txBody>
        </p:sp>
        <p:sp>
          <p:nvSpPr>
            <p:cNvPr id="41" name="Google Shape;2246;p66">
              <a:extLst>
                <a:ext uri="{FF2B5EF4-FFF2-40B4-BE49-F238E27FC236}">
                  <a16:creationId xmlns:a16="http://schemas.microsoft.com/office/drawing/2014/main" id="{2766735B-8ED2-C308-B9C8-4F831068C65F}"/>
                </a:ext>
              </a:extLst>
            </p:cNvPr>
            <p:cNvSpPr/>
            <p:nvPr/>
          </p:nvSpPr>
          <p:spPr>
            <a:xfrm>
              <a:off x="1810026" y="1574620"/>
              <a:ext cx="444063" cy="44406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>
              <a:outerShdw blurRad="127000" sy="23000" kx="1200000" algn="br" rotWithShape="0">
                <a:srgbClr val="000000">
                  <a:alpha val="14117"/>
                </a:srgbClr>
              </a:outerShdw>
            </a:effectLst>
          </p:spPr>
          <p:txBody>
            <a:bodyPr spcFirstLastPara="1" wrap="square" lIns="0" tIns="75042" rIns="0" bIns="75042" anchor="ctr" anchorCtr="0"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sz="2000" b="1" dirty="0"/>
            </a:p>
          </p:txBody>
        </p:sp>
        <p:sp>
          <p:nvSpPr>
            <p:cNvPr id="42" name="Google Shape;2247;p66">
              <a:extLst>
                <a:ext uri="{FF2B5EF4-FFF2-40B4-BE49-F238E27FC236}">
                  <a16:creationId xmlns:a16="http://schemas.microsoft.com/office/drawing/2014/main" id="{7517D452-29A8-C191-ADFF-A9F7F31693C6}"/>
                </a:ext>
              </a:extLst>
            </p:cNvPr>
            <p:cNvSpPr/>
            <p:nvPr/>
          </p:nvSpPr>
          <p:spPr>
            <a:xfrm>
              <a:off x="1831982" y="1599827"/>
              <a:ext cx="393658" cy="39365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150125" tIns="75042" rIns="150125" bIns="75042" anchor="ctr" anchorCtr="0"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r>
                <a:rPr lang="en-US" sz="2000" b="1" dirty="0"/>
                <a:t>1</a:t>
              </a:r>
              <a:endParaRPr sz="2000" dirty="0"/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F0EE78FC-5218-D162-5365-0297EB645A97}"/>
              </a:ext>
            </a:extLst>
          </p:cNvPr>
          <p:cNvGrpSpPr/>
          <p:nvPr/>
        </p:nvGrpSpPr>
        <p:grpSpPr>
          <a:xfrm>
            <a:off x="3809301" y="1388728"/>
            <a:ext cx="539911" cy="740656"/>
            <a:chOff x="3794058" y="1525451"/>
            <a:chExt cx="540868" cy="741968"/>
          </a:xfrm>
        </p:grpSpPr>
        <p:sp>
          <p:nvSpPr>
            <p:cNvPr id="44" name="Google Shape;2258;p66">
              <a:extLst>
                <a:ext uri="{FF2B5EF4-FFF2-40B4-BE49-F238E27FC236}">
                  <a16:creationId xmlns:a16="http://schemas.microsoft.com/office/drawing/2014/main" id="{186A0079-E036-0FC1-E97E-36E03E871009}"/>
                </a:ext>
              </a:extLst>
            </p:cNvPr>
            <p:cNvSpPr/>
            <p:nvPr/>
          </p:nvSpPr>
          <p:spPr>
            <a:xfrm>
              <a:off x="3794058" y="1529878"/>
              <a:ext cx="540866" cy="737541"/>
            </a:xfrm>
            <a:custGeom>
              <a:avLst/>
              <a:gdLst/>
              <a:ahLst/>
              <a:cxnLst/>
              <a:rect l="l" t="t" r="r" b="b"/>
              <a:pathLst>
                <a:path w="1407" h="1921" extrusionOk="0">
                  <a:moveTo>
                    <a:pt x="703" y="1921"/>
                  </a:moveTo>
                  <a:lnTo>
                    <a:pt x="680" y="1909"/>
                  </a:lnTo>
                  <a:lnTo>
                    <a:pt x="630" y="1879"/>
                  </a:lnTo>
                  <a:lnTo>
                    <a:pt x="548" y="1817"/>
                  </a:lnTo>
                  <a:lnTo>
                    <a:pt x="431" y="1703"/>
                  </a:lnTo>
                  <a:lnTo>
                    <a:pt x="315" y="1562"/>
                  </a:lnTo>
                  <a:lnTo>
                    <a:pt x="206" y="1396"/>
                  </a:lnTo>
                  <a:lnTo>
                    <a:pt x="134" y="1260"/>
                  </a:lnTo>
                  <a:lnTo>
                    <a:pt x="93" y="1164"/>
                  </a:lnTo>
                  <a:lnTo>
                    <a:pt x="58" y="1065"/>
                  </a:lnTo>
                  <a:lnTo>
                    <a:pt x="31" y="964"/>
                  </a:lnTo>
                  <a:lnTo>
                    <a:pt x="11" y="860"/>
                  </a:lnTo>
                  <a:lnTo>
                    <a:pt x="1" y="757"/>
                  </a:lnTo>
                  <a:lnTo>
                    <a:pt x="0" y="704"/>
                  </a:lnTo>
                  <a:lnTo>
                    <a:pt x="0" y="667"/>
                  </a:lnTo>
                  <a:lnTo>
                    <a:pt x="7" y="597"/>
                  </a:lnTo>
                  <a:lnTo>
                    <a:pt x="22" y="529"/>
                  </a:lnTo>
                  <a:lnTo>
                    <a:pt x="42" y="461"/>
                  </a:lnTo>
                  <a:lnTo>
                    <a:pt x="68" y="399"/>
                  </a:lnTo>
                  <a:lnTo>
                    <a:pt x="101" y="339"/>
                  </a:lnTo>
                  <a:lnTo>
                    <a:pt x="140" y="282"/>
                  </a:lnTo>
                  <a:lnTo>
                    <a:pt x="182" y="230"/>
                  </a:lnTo>
                  <a:lnTo>
                    <a:pt x="230" y="183"/>
                  </a:lnTo>
                  <a:lnTo>
                    <a:pt x="282" y="140"/>
                  </a:lnTo>
                  <a:lnTo>
                    <a:pt x="338" y="102"/>
                  </a:lnTo>
                  <a:lnTo>
                    <a:pt x="399" y="70"/>
                  </a:lnTo>
                  <a:lnTo>
                    <a:pt x="461" y="43"/>
                  </a:lnTo>
                  <a:lnTo>
                    <a:pt x="527" y="22"/>
                  </a:lnTo>
                  <a:lnTo>
                    <a:pt x="596" y="8"/>
                  </a:lnTo>
                  <a:lnTo>
                    <a:pt x="667" y="1"/>
                  </a:lnTo>
                  <a:lnTo>
                    <a:pt x="703" y="0"/>
                  </a:lnTo>
                  <a:lnTo>
                    <a:pt x="740" y="1"/>
                  </a:lnTo>
                  <a:lnTo>
                    <a:pt x="811" y="8"/>
                  </a:lnTo>
                  <a:lnTo>
                    <a:pt x="880" y="22"/>
                  </a:lnTo>
                  <a:lnTo>
                    <a:pt x="946" y="43"/>
                  </a:lnTo>
                  <a:lnTo>
                    <a:pt x="1009" y="70"/>
                  </a:lnTo>
                  <a:lnTo>
                    <a:pt x="1069" y="102"/>
                  </a:lnTo>
                  <a:lnTo>
                    <a:pt x="1125" y="140"/>
                  </a:lnTo>
                  <a:lnTo>
                    <a:pt x="1177" y="183"/>
                  </a:lnTo>
                  <a:lnTo>
                    <a:pt x="1225" y="230"/>
                  </a:lnTo>
                  <a:lnTo>
                    <a:pt x="1267" y="282"/>
                  </a:lnTo>
                  <a:lnTo>
                    <a:pt x="1306" y="339"/>
                  </a:lnTo>
                  <a:lnTo>
                    <a:pt x="1339" y="399"/>
                  </a:lnTo>
                  <a:lnTo>
                    <a:pt x="1365" y="461"/>
                  </a:lnTo>
                  <a:lnTo>
                    <a:pt x="1385" y="529"/>
                  </a:lnTo>
                  <a:lnTo>
                    <a:pt x="1400" y="597"/>
                  </a:lnTo>
                  <a:lnTo>
                    <a:pt x="1407" y="667"/>
                  </a:lnTo>
                  <a:lnTo>
                    <a:pt x="1407" y="704"/>
                  </a:lnTo>
                  <a:lnTo>
                    <a:pt x="1407" y="757"/>
                  </a:lnTo>
                  <a:lnTo>
                    <a:pt x="1397" y="860"/>
                  </a:lnTo>
                  <a:lnTo>
                    <a:pt x="1378" y="964"/>
                  </a:lnTo>
                  <a:lnTo>
                    <a:pt x="1349" y="1065"/>
                  </a:lnTo>
                  <a:lnTo>
                    <a:pt x="1314" y="1164"/>
                  </a:lnTo>
                  <a:lnTo>
                    <a:pt x="1273" y="1260"/>
                  </a:lnTo>
                  <a:lnTo>
                    <a:pt x="1201" y="1396"/>
                  </a:lnTo>
                  <a:lnTo>
                    <a:pt x="1092" y="1562"/>
                  </a:lnTo>
                  <a:lnTo>
                    <a:pt x="976" y="1703"/>
                  </a:lnTo>
                  <a:lnTo>
                    <a:pt x="859" y="1817"/>
                  </a:lnTo>
                  <a:lnTo>
                    <a:pt x="777" y="1879"/>
                  </a:lnTo>
                  <a:lnTo>
                    <a:pt x="727" y="1909"/>
                  </a:lnTo>
                  <a:lnTo>
                    <a:pt x="703" y="192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>
              <a:outerShdw blurRad="127000" sy="23000" kx="1200000" algn="br" rotWithShape="0">
                <a:srgbClr val="000000">
                  <a:alpha val="14117"/>
                </a:srgbClr>
              </a:outerShdw>
            </a:effectLst>
          </p:spPr>
          <p:txBody>
            <a:bodyPr spcFirstLastPara="1" wrap="square" lIns="150125" tIns="75042" rIns="150125" bIns="75042" anchor="t" anchorCtr="0"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sz="2000" dirty="0"/>
            </a:p>
          </p:txBody>
        </p:sp>
        <p:sp>
          <p:nvSpPr>
            <p:cNvPr id="45" name="Google Shape;2259;p66">
              <a:extLst>
                <a:ext uri="{FF2B5EF4-FFF2-40B4-BE49-F238E27FC236}">
                  <a16:creationId xmlns:a16="http://schemas.microsoft.com/office/drawing/2014/main" id="{4AF4187F-5520-B5A2-9AAE-F5DEF6051B63}"/>
                </a:ext>
              </a:extLst>
            </p:cNvPr>
            <p:cNvSpPr/>
            <p:nvPr/>
          </p:nvSpPr>
          <p:spPr>
            <a:xfrm>
              <a:off x="4064492" y="1525451"/>
              <a:ext cx="270434" cy="737541"/>
            </a:xfrm>
            <a:custGeom>
              <a:avLst/>
              <a:gdLst/>
              <a:ahLst/>
              <a:cxnLst/>
              <a:rect l="l" t="t" r="r" b="b"/>
              <a:pathLst>
                <a:path w="704" h="1921" extrusionOk="0">
                  <a:moveTo>
                    <a:pt x="0" y="0"/>
                  </a:moveTo>
                  <a:lnTo>
                    <a:pt x="37" y="1"/>
                  </a:lnTo>
                  <a:lnTo>
                    <a:pt x="108" y="8"/>
                  </a:lnTo>
                  <a:lnTo>
                    <a:pt x="177" y="22"/>
                  </a:lnTo>
                  <a:lnTo>
                    <a:pt x="243" y="43"/>
                  </a:lnTo>
                  <a:lnTo>
                    <a:pt x="306" y="70"/>
                  </a:lnTo>
                  <a:lnTo>
                    <a:pt x="366" y="102"/>
                  </a:lnTo>
                  <a:lnTo>
                    <a:pt x="422" y="140"/>
                  </a:lnTo>
                  <a:lnTo>
                    <a:pt x="474" y="183"/>
                  </a:lnTo>
                  <a:lnTo>
                    <a:pt x="522" y="230"/>
                  </a:lnTo>
                  <a:lnTo>
                    <a:pt x="564" y="282"/>
                  </a:lnTo>
                  <a:lnTo>
                    <a:pt x="603" y="339"/>
                  </a:lnTo>
                  <a:lnTo>
                    <a:pt x="636" y="399"/>
                  </a:lnTo>
                  <a:lnTo>
                    <a:pt x="662" y="461"/>
                  </a:lnTo>
                  <a:lnTo>
                    <a:pt x="682" y="529"/>
                  </a:lnTo>
                  <a:lnTo>
                    <a:pt x="697" y="597"/>
                  </a:lnTo>
                  <a:lnTo>
                    <a:pt x="704" y="667"/>
                  </a:lnTo>
                  <a:lnTo>
                    <a:pt x="704" y="704"/>
                  </a:lnTo>
                  <a:lnTo>
                    <a:pt x="704" y="757"/>
                  </a:lnTo>
                  <a:lnTo>
                    <a:pt x="694" y="860"/>
                  </a:lnTo>
                  <a:lnTo>
                    <a:pt x="675" y="964"/>
                  </a:lnTo>
                  <a:lnTo>
                    <a:pt x="646" y="1065"/>
                  </a:lnTo>
                  <a:lnTo>
                    <a:pt x="611" y="1164"/>
                  </a:lnTo>
                  <a:lnTo>
                    <a:pt x="570" y="1260"/>
                  </a:lnTo>
                  <a:lnTo>
                    <a:pt x="498" y="1396"/>
                  </a:lnTo>
                  <a:lnTo>
                    <a:pt x="389" y="1562"/>
                  </a:lnTo>
                  <a:lnTo>
                    <a:pt x="273" y="1703"/>
                  </a:lnTo>
                  <a:lnTo>
                    <a:pt x="156" y="1817"/>
                  </a:lnTo>
                  <a:lnTo>
                    <a:pt x="74" y="1879"/>
                  </a:lnTo>
                  <a:lnTo>
                    <a:pt x="24" y="1909"/>
                  </a:lnTo>
                  <a:lnTo>
                    <a:pt x="0" y="19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>
              <a:outerShdw blurRad="127000" sy="23000" kx="1200000" algn="br" rotWithShape="0">
                <a:srgbClr val="000000">
                  <a:alpha val="14117"/>
                </a:srgbClr>
              </a:outerShdw>
            </a:effectLst>
          </p:spPr>
          <p:txBody>
            <a:bodyPr spcFirstLastPara="1" wrap="square" lIns="150125" tIns="75042" rIns="150125" bIns="75042" anchor="t" anchorCtr="0"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sz="2000" dirty="0"/>
            </a:p>
          </p:txBody>
        </p:sp>
        <p:sp>
          <p:nvSpPr>
            <p:cNvPr id="46" name="Google Shape;2260;p66">
              <a:extLst>
                <a:ext uri="{FF2B5EF4-FFF2-40B4-BE49-F238E27FC236}">
                  <a16:creationId xmlns:a16="http://schemas.microsoft.com/office/drawing/2014/main" id="{07C1CDBA-27AE-225E-3BAE-7CA5A8E8F025}"/>
                </a:ext>
              </a:extLst>
            </p:cNvPr>
            <p:cNvSpPr/>
            <p:nvPr/>
          </p:nvSpPr>
          <p:spPr>
            <a:xfrm>
              <a:off x="3841691" y="1574620"/>
              <a:ext cx="444063" cy="44406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>
              <a:outerShdw blurRad="127000" sy="23000" kx="1200000" algn="br" rotWithShape="0">
                <a:srgbClr val="000000">
                  <a:alpha val="14117"/>
                </a:srgbClr>
              </a:outerShdw>
            </a:effectLst>
          </p:spPr>
          <p:txBody>
            <a:bodyPr spcFirstLastPara="1" wrap="square" lIns="0" tIns="75042" rIns="0" bIns="75042" anchor="ctr" anchorCtr="0"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sz="2000" b="1" dirty="0"/>
            </a:p>
          </p:txBody>
        </p:sp>
        <p:sp>
          <p:nvSpPr>
            <p:cNvPr id="47" name="Google Shape;2261;p66">
              <a:extLst>
                <a:ext uri="{FF2B5EF4-FFF2-40B4-BE49-F238E27FC236}">
                  <a16:creationId xmlns:a16="http://schemas.microsoft.com/office/drawing/2014/main" id="{324EA47F-BE02-6A61-66F5-4CB6EB22081F}"/>
                </a:ext>
              </a:extLst>
            </p:cNvPr>
            <p:cNvSpPr/>
            <p:nvPr/>
          </p:nvSpPr>
          <p:spPr>
            <a:xfrm>
              <a:off x="3863647" y="1599827"/>
              <a:ext cx="393658" cy="39365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150125" tIns="75042" rIns="150125" bIns="75042" anchor="ctr" anchorCtr="0"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r>
                <a:rPr lang="en-US" sz="2000" b="1" dirty="0"/>
                <a:t>2</a:t>
              </a:r>
              <a:endParaRPr sz="2000" dirty="0"/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3A0F2D42-6358-976E-6C72-B4474AD43F45}"/>
              </a:ext>
            </a:extLst>
          </p:cNvPr>
          <p:cNvGrpSpPr/>
          <p:nvPr/>
        </p:nvGrpSpPr>
        <p:grpSpPr>
          <a:xfrm>
            <a:off x="5837375" y="1388728"/>
            <a:ext cx="539911" cy="740656"/>
            <a:chOff x="5825724" y="1525451"/>
            <a:chExt cx="540868" cy="741968"/>
          </a:xfrm>
        </p:grpSpPr>
        <p:sp>
          <p:nvSpPr>
            <p:cNvPr id="49" name="Google Shape;2263;p66">
              <a:extLst>
                <a:ext uri="{FF2B5EF4-FFF2-40B4-BE49-F238E27FC236}">
                  <a16:creationId xmlns:a16="http://schemas.microsoft.com/office/drawing/2014/main" id="{A2764626-AAAC-F856-307A-B43FE7FEE5DA}"/>
                </a:ext>
              </a:extLst>
            </p:cNvPr>
            <p:cNvSpPr/>
            <p:nvPr/>
          </p:nvSpPr>
          <p:spPr>
            <a:xfrm>
              <a:off x="5825724" y="1529878"/>
              <a:ext cx="540866" cy="737541"/>
            </a:xfrm>
            <a:custGeom>
              <a:avLst/>
              <a:gdLst/>
              <a:ahLst/>
              <a:cxnLst/>
              <a:rect l="l" t="t" r="r" b="b"/>
              <a:pathLst>
                <a:path w="1407" h="1921" extrusionOk="0">
                  <a:moveTo>
                    <a:pt x="703" y="1921"/>
                  </a:moveTo>
                  <a:lnTo>
                    <a:pt x="680" y="1909"/>
                  </a:lnTo>
                  <a:lnTo>
                    <a:pt x="630" y="1879"/>
                  </a:lnTo>
                  <a:lnTo>
                    <a:pt x="548" y="1817"/>
                  </a:lnTo>
                  <a:lnTo>
                    <a:pt x="431" y="1703"/>
                  </a:lnTo>
                  <a:lnTo>
                    <a:pt x="315" y="1562"/>
                  </a:lnTo>
                  <a:lnTo>
                    <a:pt x="206" y="1396"/>
                  </a:lnTo>
                  <a:lnTo>
                    <a:pt x="134" y="1260"/>
                  </a:lnTo>
                  <a:lnTo>
                    <a:pt x="93" y="1164"/>
                  </a:lnTo>
                  <a:lnTo>
                    <a:pt x="58" y="1065"/>
                  </a:lnTo>
                  <a:lnTo>
                    <a:pt x="31" y="964"/>
                  </a:lnTo>
                  <a:lnTo>
                    <a:pt x="11" y="860"/>
                  </a:lnTo>
                  <a:lnTo>
                    <a:pt x="1" y="757"/>
                  </a:lnTo>
                  <a:lnTo>
                    <a:pt x="0" y="704"/>
                  </a:lnTo>
                  <a:lnTo>
                    <a:pt x="0" y="667"/>
                  </a:lnTo>
                  <a:lnTo>
                    <a:pt x="7" y="597"/>
                  </a:lnTo>
                  <a:lnTo>
                    <a:pt x="22" y="529"/>
                  </a:lnTo>
                  <a:lnTo>
                    <a:pt x="42" y="461"/>
                  </a:lnTo>
                  <a:lnTo>
                    <a:pt x="68" y="399"/>
                  </a:lnTo>
                  <a:lnTo>
                    <a:pt x="101" y="339"/>
                  </a:lnTo>
                  <a:lnTo>
                    <a:pt x="140" y="282"/>
                  </a:lnTo>
                  <a:lnTo>
                    <a:pt x="182" y="230"/>
                  </a:lnTo>
                  <a:lnTo>
                    <a:pt x="230" y="183"/>
                  </a:lnTo>
                  <a:lnTo>
                    <a:pt x="282" y="140"/>
                  </a:lnTo>
                  <a:lnTo>
                    <a:pt x="338" y="102"/>
                  </a:lnTo>
                  <a:lnTo>
                    <a:pt x="399" y="70"/>
                  </a:lnTo>
                  <a:lnTo>
                    <a:pt x="461" y="43"/>
                  </a:lnTo>
                  <a:lnTo>
                    <a:pt x="527" y="22"/>
                  </a:lnTo>
                  <a:lnTo>
                    <a:pt x="596" y="8"/>
                  </a:lnTo>
                  <a:lnTo>
                    <a:pt x="667" y="1"/>
                  </a:lnTo>
                  <a:lnTo>
                    <a:pt x="703" y="0"/>
                  </a:lnTo>
                  <a:lnTo>
                    <a:pt x="740" y="1"/>
                  </a:lnTo>
                  <a:lnTo>
                    <a:pt x="811" y="8"/>
                  </a:lnTo>
                  <a:lnTo>
                    <a:pt x="880" y="22"/>
                  </a:lnTo>
                  <a:lnTo>
                    <a:pt x="946" y="43"/>
                  </a:lnTo>
                  <a:lnTo>
                    <a:pt x="1009" y="70"/>
                  </a:lnTo>
                  <a:lnTo>
                    <a:pt x="1069" y="102"/>
                  </a:lnTo>
                  <a:lnTo>
                    <a:pt x="1125" y="140"/>
                  </a:lnTo>
                  <a:lnTo>
                    <a:pt x="1177" y="183"/>
                  </a:lnTo>
                  <a:lnTo>
                    <a:pt x="1225" y="230"/>
                  </a:lnTo>
                  <a:lnTo>
                    <a:pt x="1267" y="282"/>
                  </a:lnTo>
                  <a:lnTo>
                    <a:pt x="1306" y="339"/>
                  </a:lnTo>
                  <a:lnTo>
                    <a:pt x="1339" y="399"/>
                  </a:lnTo>
                  <a:lnTo>
                    <a:pt x="1365" y="461"/>
                  </a:lnTo>
                  <a:lnTo>
                    <a:pt x="1385" y="529"/>
                  </a:lnTo>
                  <a:lnTo>
                    <a:pt x="1400" y="597"/>
                  </a:lnTo>
                  <a:lnTo>
                    <a:pt x="1407" y="667"/>
                  </a:lnTo>
                  <a:lnTo>
                    <a:pt x="1407" y="704"/>
                  </a:lnTo>
                  <a:lnTo>
                    <a:pt x="1407" y="757"/>
                  </a:lnTo>
                  <a:lnTo>
                    <a:pt x="1397" y="860"/>
                  </a:lnTo>
                  <a:lnTo>
                    <a:pt x="1378" y="964"/>
                  </a:lnTo>
                  <a:lnTo>
                    <a:pt x="1349" y="1065"/>
                  </a:lnTo>
                  <a:lnTo>
                    <a:pt x="1314" y="1164"/>
                  </a:lnTo>
                  <a:lnTo>
                    <a:pt x="1273" y="1260"/>
                  </a:lnTo>
                  <a:lnTo>
                    <a:pt x="1201" y="1396"/>
                  </a:lnTo>
                  <a:lnTo>
                    <a:pt x="1092" y="1562"/>
                  </a:lnTo>
                  <a:lnTo>
                    <a:pt x="976" y="1703"/>
                  </a:lnTo>
                  <a:lnTo>
                    <a:pt x="859" y="1817"/>
                  </a:lnTo>
                  <a:lnTo>
                    <a:pt x="777" y="1879"/>
                  </a:lnTo>
                  <a:lnTo>
                    <a:pt x="727" y="1909"/>
                  </a:lnTo>
                  <a:lnTo>
                    <a:pt x="703" y="192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>
              <a:outerShdw blurRad="127000" sy="23000" kx="1200000" algn="br" rotWithShape="0">
                <a:srgbClr val="000000">
                  <a:alpha val="14117"/>
                </a:srgbClr>
              </a:outerShdw>
            </a:effectLst>
          </p:spPr>
          <p:txBody>
            <a:bodyPr spcFirstLastPara="1" wrap="square" lIns="150125" tIns="75042" rIns="150125" bIns="75042" anchor="t" anchorCtr="0"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sz="2000" dirty="0"/>
            </a:p>
          </p:txBody>
        </p:sp>
        <p:sp>
          <p:nvSpPr>
            <p:cNvPr id="50" name="Google Shape;2264;p66">
              <a:extLst>
                <a:ext uri="{FF2B5EF4-FFF2-40B4-BE49-F238E27FC236}">
                  <a16:creationId xmlns:a16="http://schemas.microsoft.com/office/drawing/2014/main" id="{421631D4-5728-B4F4-1A1B-72180C8C72A4}"/>
                </a:ext>
              </a:extLst>
            </p:cNvPr>
            <p:cNvSpPr/>
            <p:nvPr/>
          </p:nvSpPr>
          <p:spPr>
            <a:xfrm>
              <a:off x="6096158" y="1525451"/>
              <a:ext cx="270434" cy="737541"/>
            </a:xfrm>
            <a:custGeom>
              <a:avLst/>
              <a:gdLst/>
              <a:ahLst/>
              <a:cxnLst/>
              <a:rect l="l" t="t" r="r" b="b"/>
              <a:pathLst>
                <a:path w="704" h="1921" extrusionOk="0">
                  <a:moveTo>
                    <a:pt x="0" y="0"/>
                  </a:moveTo>
                  <a:lnTo>
                    <a:pt x="37" y="1"/>
                  </a:lnTo>
                  <a:lnTo>
                    <a:pt x="108" y="8"/>
                  </a:lnTo>
                  <a:lnTo>
                    <a:pt x="177" y="22"/>
                  </a:lnTo>
                  <a:lnTo>
                    <a:pt x="243" y="43"/>
                  </a:lnTo>
                  <a:lnTo>
                    <a:pt x="306" y="70"/>
                  </a:lnTo>
                  <a:lnTo>
                    <a:pt x="366" y="102"/>
                  </a:lnTo>
                  <a:lnTo>
                    <a:pt x="422" y="140"/>
                  </a:lnTo>
                  <a:lnTo>
                    <a:pt x="474" y="183"/>
                  </a:lnTo>
                  <a:lnTo>
                    <a:pt x="522" y="230"/>
                  </a:lnTo>
                  <a:lnTo>
                    <a:pt x="564" y="282"/>
                  </a:lnTo>
                  <a:lnTo>
                    <a:pt x="603" y="339"/>
                  </a:lnTo>
                  <a:lnTo>
                    <a:pt x="636" y="399"/>
                  </a:lnTo>
                  <a:lnTo>
                    <a:pt x="662" y="461"/>
                  </a:lnTo>
                  <a:lnTo>
                    <a:pt x="682" y="529"/>
                  </a:lnTo>
                  <a:lnTo>
                    <a:pt x="697" y="597"/>
                  </a:lnTo>
                  <a:lnTo>
                    <a:pt x="704" y="667"/>
                  </a:lnTo>
                  <a:lnTo>
                    <a:pt x="704" y="704"/>
                  </a:lnTo>
                  <a:lnTo>
                    <a:pt x="704" y="757"/>
                  </a:lnTo>
                  <a:lnTo>
                    <a:pt x="694" y="860"/>
                  </a:lnTo>
                  <a:lnTo>
                    <a:pt x="675" y="964"/>
                  </a:lnTo>
                  <a:lnTo>
                    <a:pt x="646" y="1065"/>
                  </a:lnTo>
                  <a:lnTo>
                    <a:pt x="611" y="1164"/>
                  </a:lnTo>
                  <a:lnTo>
                    <a:pt x="570" y="1260"/>
                  </a:lnTo>
                  <a:lnTo>
                    <a:pt x="498" y="1396"/>
                  </a:lnTo>
                  <a:lnTo>
                    <a:pt x="389" y="1562"/>
                  </a:lnTo>
                  <a:lnTo>
                    <a:pt x="273" y="1703"/>
                  </a:lnTo>
                  <a:lnTo>
                    <a:pt x="156" y="1817"/>
                  </a:lnTo>
                  <a:lnTo>
                    <a:pt x="74" y="1879"/>
                  </a:lnTo>
                  <a:lnTo>
                    <a:pt x="24" y="1909"/>
                  </a:lnTo>
                  <a:lnTo>
                    <a:pt x="0" y="19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95167">
                <a:alpha val="29019"/>
              </a:srgbClr>
            </a:solidFill>
            <a:ln>
              <a:noFill/>
            </a:ln>
            <a:effectLst>
              <a:outerShdw blurRad="127000" sy="23000" kx="1200000" algn="br" rotWithShape="0">
                <a:srgbClr val="000000">
                  <a:alpha val="14117"/>
                </a:srgbClr>
              </a:outerShdw>
            </a:effectLst>
          </p:spPr>
          <p:txBody>
            <a:bodyPr spcFirstLastPara="1" wrap="square" lIns="150125" tIns="75042" rIns="150125" bIns="75042" anchor="t" anchorCtr="0"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sz="2000" dirty="0"/>
            </a:p>
          </p:txBody>
        </p:sp>
        <p:sp>
          <p:nvSpPr>
            <p:cNvPr id="51" name="Google Shape;2265;p66">
              <a:extLst>
                <a:ext uri="{FF2B5EF4-FFF2-40B4-BE49-F238E27FC236}">
                  <a16:creationId xmlns:a16="http://schemas.microsoft.com/office/drawing/2014/main" id="{AE366FF5-CC70-2AF3-42D6-2E50313DB93E}"/>
                </a:ext>
              </a:extLst>
            </p:cNvPr>
            <p:cNvSpPr/>
            <p:nvPr/>
          </p:nvSpPr>
          <p:spPr>
            <a:xfrm>
              <a:off x="5873357" y="1574620"/>
              <a:ext cx="444063" cy="44406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>
              <a:outerShdw blurRad="127000" sy="23000" kx="1200000" algn="br" rotWithShape="0">
                <a:srgbClr val="000000">
                  <a:alpha val="14117"/>
                </a:srgbClr>
              </a:outerShdw>
            </a:effectLst>
          </p:spPr>
          <p:txBody>
            <a:bodyPr spcFirstLastPara="1" wrap="square" lIns="0" tIns="75042" rIns="0" bIns="75042" anchor="ctr" anchorCtr="0"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sz="2000" b="1" dirty="0"/>
            </a:p>
          </p:txBody>
        </p:sp>
        <p:sp>
          <p:nvSpPr>
            <p:cNvPr id="52" name="Google Shape;2266;p66">
              <a:extLst>
                <a:ext uri="{FF2B5EF4-FFF2-40B4-BE49-F238E27FC236}">
                  <a16:creationId xmlns:a16="http://schemas.microsoft.com/office/drawing/2014/main" id="{446DF603-C3EF-8982-BE09-BCFDC6BAB391}"/>
                </a:ext>
              </a:extLst>
            </p:cNvPr>
            <p:cNvSpPr/>
            <p:nvPr/>
          </p:nvSpPr>
          <p:spPr>
            <a:xfrm>
              <a:off x="5895313" y="1599827"/>
              <a:ext cx="393658" cy="39365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150125" tIns="75042" rIns="150125" bIns="75042" anchor="ctr" anchorCtr="0"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r>
                <a:rPr lang="en-US" sz="2000" b="1" dirty="0"/>
                <a:t>3</a:t>
              </a:r>
              <a:endParaRPr sz="2000" dirty="0"/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324ABA46-2CC8-1CF6-E584-9D479609B554}"/>
              </a:ext>
            </a:extLst>
          </p:cNvPr>
          <p:cNvGrpSpPr/>
          <p:nvPr/>
        </p:nvGrpSpPr>
        <p:grpSpPr>
          <a:xfrm>
            <a:off x="7865446" y="1388728"/>
            <a:ext cx="539911" cy="740656"/>
            <a:chOff x="7857390" y="1525451"/>
            <a:chExt cx="540868" cy="741968"/>
          </a:xfrm>
        </p:grpSpPr>
        <p:sp>
          <p:nvSpPr>
            <p:cNvPr id="54" name="Google Shape;2268;p66">
              <a:extLst>
                <a:ext uri="{FF2B5EF4-FFF2-40B4-BE49-F238E27FC236}">
                  <a16:creationId xmlns:a16="http://schemas.microsoft.com/office/drawing/2014/main" id="{97FC6143-6451-D74B-3963-F7A37615EC5D}"/>
                </a:ext>
              </a:extLst>
            </p:cNvPr>
            <p:cNvSpPr/>
            <p:nvPr/>
          </p:nvSpPr>
          <p:spPr>
            <a:xfrm>
              <a:off x="7857390" y="1529878"/>
              <a:ext cx="540866" cy="737541"/>
            </a:xfrm>
            <a:custGeom>
              <a:avLst/>
              <a:gdLst/>
              <a:ahLst/>
              <a:cxnLst/>
              <a:rect l="l" t="t" r="r" b="b"/>
              <a:pathLst>
                <a:path w="1407" h="1921" extrusionOk="0">
                  <a:moveTo>
                    <a:pt x="703" y="1921"/>
                  </a:moveTo>
                  <a:lnTo>
                    <a:pt x="680" y="1909"/>
                  </a:lnTo>
                  <a:lnTo>
                    <a:pt x="630" y="1879"/>
                  </a:lnTo>
                  <a:lnTo>
                    <a:pt x="548" y="1817"/>
                  </a:lnTo>
                  <a:lnTo>
                    <a:pt x="431" y="1703"/>
                  </a:lnTo>
                  <a:lnTo>
                    <a:pt x="315" y="1562"/>
                  </a:lnTo>
                  <a:lnTo>
                    <a:pt x="206" y="1396"/>
                  </a:lnTo>
                  <a:lnTo>
                    <a:pt x="134" y="1260"/>
                  </a:lnTo>
                  <a:lnTo>
                    <a:pt x="93" y="1164"/>
                  </a:lnTo>
                  <a:lnTo>
                    <a:pt x="58" y="1065"/>
                  </a:lnTo>
                  <a:lnTo>
                    <a:pt x="31" y="964"/>
                  </a:lnTo>
                  <a:lnTo>
                    <a:pt x="11" y="860"/>
                  </a:lnTo>
                  <a:lnTo>
                    <a:pt x="1" y="757"/>
                  </a:lnTo>
                  <a:lnTo>
                    <a:pt x="0" y="704"/>
                  </a:lnTo>
                  <a:lnTo>
                    <a:pt x="0" y="667"/>
                  </a:lnTo>
                  <a:lnTo>
                    <a:pt x="7" y="597"/>
                  </a:lnTo>
                  <a:lnTo>
                    <a:pt x="22" y="529"/>
                  </a:lnTo>
                  <a:lnTo>
                    <a:pt x="42" y="461"/>
                  </a:lnTo>
                  <a:lnTo>
                    <a:pt x="68" y="399"/>
                  </a:lnTo>
                  <a:lnTo>
                    <a:pt x="101" y="339"/>
                  </a:lnTo>
                  <a:lnTo>
                    <a:pt x="140" y="282"/>
                  </a:lnTo>
                  <a:lnTo>
                    <a:pt x="182" y="230"/>
                  </a:lnTo>
                  <a:lnTo>
                    <a:pt x="230" y="183"/>
                  </a:lnTo>
                  <a:lnTo>
                    <a:pt x="282" y="140"/>
                  </a:lnTo>
                  <a:lnTo>
                    <a:pt x="338" y="102"/>
                  </a:lnTo>
                  <a:lnTo>
                    <a:pt x="399" y="70"/>
                  </a:lnTo>
                  <a:lnTo>
                    <a:pt x="461" y="43"/>
                  </a:lnTo>
                  <a:lnTo>
                    <a:pt x="527" y="22"/>
                  </a:lnTo>
                  <a:lnTo>
                    <a:pt x="596" y="8"/>
                  </a:lnTo>
                  <a:lnTo>
                    <a:pt x="667" y="1"/>
                  </a:lnTo>
                  <a:lnTo>
                    <a:pt x="703" y="0"/>
                  </a:lnTo>
                  <a:lnTo>
                    <a:pt x="740" y="1"/>
                  </a:lnTo>
                  <a:lnTo>
                    <a:pt x="811" y="8"/>
                  </a:lnTo>
                  <a:lnTo>
                    <a:pt x="880" y="22"/>
                  </a:lnTo>
                  <a:lnTo>
                    <a:pt x="946" y="43"/>
                  </a:lnTo>
                  <a:lnTo>
                    <a:pt x="1009" y="70"/>
                  </a:lnTo>
                  <a:lnTo>
                    <a:pt x="1069" y="102"/>
                  </a:lnTo>
                  <a:lnTo>
                    <a:pt x="1125" y="140"/>
                  </a:lnTo>
                  <a:lnTo>
                    <a:pt x="1177" y="183"/>
                  </a:lnTo>
                  <a:lnTo>
                    <a:pt x="1225" y="230"/>
                  </a:lnTo>
                  <a:lnTo>
                    <a:pt x="1267" y="282"/>
                  </a:lnTo>
                  <a:lnTo>
                    <a:pt x="1306" y="339"/>
                  </a:lnTo>
                  <a:lnTo>
                    <a:pt x="1339" y="399"/>
                  </a:lnTo>
                  <a:lnTo>
                    <a:pt x="1365" y="461"/>
                  </a:lnTo>
                  <a:lnTo>
                    <a:pt x="1385" y="529"/>
                  </a:lnTo>
                  <a:lnTo>
                    <a:pt x="1400" y="597"/>
                  </a:lnTo>
                  <a:lnTo>
                    <a:pt x="1407" y="667"/>
                  </a:lnTo>
                  <a:lnTo>
                    <a:pt x="1407" y="704"/>
                  </a:lnTo>
                  <a:lnTo>
                    <a:pt x="1407" y="757"/>
                  </a:lnTo>
                  <a:lnTo>
                    <a:pt x="1397" y="860"/>
                  </a:lnTo>
                  <a:lnTo>
                    <a:pt x="1378" y="964"/>
                  </a:lnTo>
                  <a:lnTo>
                    <a:pt x="1349" y="1065"/>
                  </a:lnTo>
                  <a:lnTo>
                    <a:pt x="1314" y="1164"/>
                  </a:lnTo>
                  <a:lnTo>
                    <a:pt x="1273" y="1260"/>
                  </a:lnTo>
                  <a:lnTo>
                    <a:pt x="1201" y="1396"/>
                  </a:lnTo>
                  <a:lnTo>
                    <a:pt x="1092" y="1562"/>
                  </a:lnTo>
                  <a:lnTo>
                    <a:pt x="976" y="1703"/>
                  </a:lnTo>
                  <a:lnTo>
                    <a:pt x="859" y="1817"/>
                  </a:lnTo>
                  <a:lnTo>
                    <a:pt x="777" y="1879"/>
                  </a:lnTo>
                  <a:lnTo>
                    <a:pt x="727" y="1909"/>
                  </a:lnTo>
                  <a:lnTo>
                    <a:pt x="703" y="192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>
              <a:outerShdw blurRad="127000" sy="23000" kx="1200000" algn="br" rotWithShape="0">
                <a:srgbClr val="000000">
                  <a:alpha val="14117"/>
                </a:srgbClr>
              </a:outerShdw>
            </a:effectLst>
          </p:spPr>
          <p:txBody>
            <a:bodyPr spcFirstLastPara="1" wrap="square" lIns="150125" tIns="75042" rIns="150125" bIns="75042" anchor="t" anchorCtr="0"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sz="2000" dirty="0"/>
            </a:p>
          </p:txBody>
        </p:sp>
        <p:sp>
          <p:nvSpPr>
            <p:cNvPr id="56" name="Google Shape;2269;p66">
              <a:extLst>
                <a:ext uri="{FF2B5EF4-FFF2-40B4-BE49-F238E27FC236}">
                  <a16:creationId xmlns:a16="http://schemas.microsoft.com/office/drawing/2014/main" id="{D577BC39-73FF-2EE6-92C1-62493C3B2167}"/>
                </a:ext>
              </a:extLst>
            </p:cNvPr>
            <p:cNvSpPr/>
            <p:nvPr/>
          </p:nvSpPr>
          <p:spPr>
            <a:xfrm>
              <a:off x="8127824" y="1525451"/>
              <a:ext cx="270434" cy="737541"/>
            </a:xfrm>
            <a:custGeom>
              <a:avLst/>
              <a:gdLst/>
              <a:ahLst/>
              <a:cxnLst/>
              <a:rect l="l" t="t" r="r" b="b"/>
              <a:pathLst>
                <a:path w="704" h="1921" extrusionOk="0">
                  <a:moveTo>
                    <a:pt x="0" y="0"/>
                  </a:moveTo>
                  <a:lnTo>
                    <a:pt x="37" y="1"/>
                  </a:lnTo>
                  <a:lnTo>
                    <a:pt x="108" y="8"/>
                  </a:lnTo>
                  <a:lnTo>
                    <a:pt x="177" y="22"/>
                  </a:lnTo>
                  <a:lnTo>
                    <a:pt x="243" y="43"/>
                  </a:lnTo>
                  <a:lnTo>
                    <a:pt x="306" y="70"/>
                  </a:lnTo>
                  <a:lnTo>
                    <a:pt x="366" y="102"/>
                  </a:lnTo>
                  <a:lnTo>
                    <a:pt x="422" y="140"/>
                  </a:lnTo>
                  <a:lnTo>
                    <a:pt x="474" y="183"/>
                  </a:lnTo>
                  <a:lnTo>
                    <a:pt x="522" y="230"/>
                  </a:lnTo>
                  <a:lnTo>
                    <a:pt x="564" y="282"/>
                  </a:lnTo>
                  <a:lnTo>
                    <a:pt x="603" y="339"/>
                  </a:lnTo>
                  <a:lnTo>
                    <a:pt x="636" y="399"/>
                  </a:lnTo>
                  <a:lnTo>
                    <a:pt x="662" y="461"/>
                  </a:lnTo>
                  <a:lnTo>
                    <a:pt x="682" y="529"/>
                  </a:lnTo>
                  <a:lnTo>
                    <a:pt x="697" y="597"/>
                  </a:lnTo>
                  <a:lnTo>
                    <a:pt x="704" y="667"/>
                  </a:lnTo>
                  <a:lnTo>
                    <a:pt x="704" y="704"/>
                  </a:lnTo>
                  <a:lnTo>
                    <a:pt x="704" y="757"/>
                  </a:lnTo>
                  <a:lnTo>
                    <a:pt x="694" y="860"/>
                  </a:lnTo>
                  <a:lnTo>
                    <a:pt x="675" y="964"/>
                  </a:lnTo>
                  <a:lnTo>
                    <a:pt x="646" y="1065"/>
                  </a:lnTo>
                  <a:lnTo>
                    <a:pt x="611" y="1164"/>
                  </a:lnTo>
                  <a:lnTo>
                    <a:pt x="570" y="1260"/>
                  </a:lnTo>
                  <a:lnTo>
                    <a:pt x="498" y="1396"/>
                  </a:lnTo>
                  <a:lnTo>
                    <a:pt x="389" y="1562"/>
                  </a:lnTo>
                  <a:lnTo>
                    <a:pt x="273" y="1703"/>
                  </a:lnTo>
                  <a:lnTo>
                    <a:pt x="156" y="1817"/>
                  </a:lnTo>
                  <a:lnTo>
                    <a:pt x="74" y="1879"/>
                  </a:lnTo>
                  <a:lnTo>
                    <a:pt x="24" y="1909"/>
                  </a:lnTo>
                  <a:lnTo>
                    <a:pt x="0" y="19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>
              <a:outerShdw blurRad="127000" sy="23000" kx="1200000" algn="br" rotWithShape="0">
                <a:srgbClr val="000000">
                  <a:alpha val="14117"/>
                </a:srgbClr>
              </a:outerShdw>
            </a:effectLst>
          </p:spPr>
          <p:txBody>
            <a:bodyPr spcFirstLastPara="1" wrap="square" lIns="150125" tIns="75042" rIns="150125" bIns="75042" anchor="t" anchorCtr="0"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sz="2000" dirty="0"/>
            </a:p>
          </p:txBody>
        </p:sp>
        <p:sp>
          <p:nvSpPr>
            <p:cNvPr id="57" name="Google Shape;2270;p66">
              <a:extLst>
                <a:ext uri="{FF2B5EF4-FFF2-40B4-BE49-F238E27FC236}">
                  <a16:creationId xmlns:a16="http://schemas.microsoft.com/office/drawing/2014/main" id="{720B0C7E-57D3-F35F-E658-CC24EE27D44E}"/>
                </a:ext>
              </a:extLst>
            </p:cNvPr>
            <p:cNvSpPr/>
            <p:nvPr/>
          </p:nvSpPr>
          <p:spPr>
            <a:xfrm>
              <a:off x="7905023" y="1574620"/>
              <a:ext cx="444063" cy="44406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>
              <a:outerShdw blurRad="127000" sy="23000" kx="1200000" algn="br" rotWithShape="0">
                <a:srgbClr val="000000">
                  <a:alpha val="14117"/>
                </a:srgbClr>
              </a:outerShdw>
            </a:effectLst>
          </p:spPr>
          <p:txBody>
            <a:bodyPr spcFirstLastPara="1" wrap="square" lIns="0" tIns="75042" rIns="0" bIns="75042" anchor="ctr" anchorCtr="0"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sz="2000" b="1" dirty="0"/>
            </a:p>
          </p:txBody>
        </p:sp>
        <p:sp>
          <p:nvSpPr>
            <p:cNvPr id="58" name="Google Shape;2271;p66">
              <a:extLst>
                <a:ext uri="{FF2B5EF4-FFF2-40B4-BE49-F238E27FC236}">
                  <a16:creationId xmlns:a16="http://schemas.microsoft.com/office/drawing/2014/main" id="{72AB036B-F370-8B40-ED23-8087FFFF9A44}"/>
                </a:ext>
              </a:extLst>
            </p:cNvPr>
            <p:cNvSpPr/>
            <p:nvPr/>
          </p:nvSpPr>
          <p:spPr>
            <a:xfrm>
              <a:off x="7926979" y="1599827"/>
              <a:ext cx="393658" cy="39365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150125" tIns="75042" rIns="150125" bIns="75042" anchor="ctr" anchorCtr="0"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r>
                <a:rPr lang="en-US" sz="2000" b="1" dirty="0"/>
                <a:t>4</a:t>
              </a:r>
              <a:endParaRPr sz="2000" dirty="0"/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B771257D-AEEC-6569-DB5B-B460FC66234A}"/>
              </a:ext>
            </a:extLst>
          </p:cNvPr>
          <p:cNvGrpSpPr/>
          <p:nvPr/>
        </p:nvGrpSpPr>
        <p:grpSpPr>
          <a:xfrm>
            <a:off x="9893518" y="1388728"/>
            <a:ext cx="539911" cy="740656"/>
            <a:chOff x="9889055" y="1525451"/>
            <a:chExt cx="540868" cy="741968"/>
          </a:xfrm>
        </p:grpSpPr>
        <p:sp>
          <p:nvSpPr>
            <p:cNvPr id="60" name="Google Shape;2273;p66">
              <a:extLst>
                <a:ext uri="{FF2B5EF4-FFF2-40B4-BE49-F238E27FC236}">
                  <a16:creationId xmlns:a16="http://schemas.microsoft.com/office/drawing/2014/main" id="{FF3D98E5-0F15-AC7E-518C-4193D494C616}"/>
                </a:ext>
              </a:extLst>
            </p:cNvPr>
            <p:cNvSpPr/>
            <p:nvPr/>
          </p:nvSpPr>
          <p:spPr>
            <a:xfrm>
              <a:off x="9889055" y="1529878"/>
              <a:ext cx="540866" cy="737541"/>
            </a:xfrm>
            <a:custGeom>
              <a:avLst/>
              <a:gdLst/>
              <a:ahLst/>
              <a:cxnLst/>
              <a:rect l="l" t="t" r="r" b="b"/>
              <a:pathLst>
                <a:path w="1407" h="1921" extrusionOk="0">
                  <a:moveTo>
                    <a:pt x="703" y="1921"/>
                  </a:moveTo>
                  <a:lnTo>
                    <a:pt x="680" y="1909"/>
                  </a:lnTo>
                  <a:lnTo>
                    <a:pt x="630" y="1879"/>
                  </a:lnTo>
                  <a:lnTo>
                    <a:pt x="548" y="1817"/>
                  </a:lnTo>
                  <a:lnTo>
                    <a:pt x="431" y="1703"/>
                  </a:lnTo>
                  <a:lnTo>
                    <a:pt x="315" y="1562"/>
                  </a:lnTo>
                  <a:lnTo>
                    <a:pt x="206" y="1396"/>
                  </a:lnTo>
                  <a:lnTo>
                    <a:pt x="134" y="1260"/>
                  </a:lnTo>
                  <a:lnTo>
                    <a:pt x="93" y="1164"/>
                  </a:lnTo>
                  <a:lnTo>
                    <a:pt x="58" y="1065"/>
                  </a:lnTo>
                  <a:lnTo>
                    <a:pt x="31" y="964"/>
                  </a:lnTo>
                  <a:lnTo>
                    <a:pt x="11" y="860"/>
                  </a:lnTo>
                  <a:lnTo>
                    <a:pt x="1" y="757"/>
                  </a:lnTo>
                  <a:lnTo>
                    <a:pt x="0" y="704"/>
                  </a:lnTo>
                  <a:lnTo>
                    <a:pt x="0" y="667"/>
                  </a:lnTo>
                  <a:lnTo>
                    <a:pt x="7" y="597"/>
                  </a:lnTo>
                  <a:lnTo>
                    <a:pt x="22" y="529"/>
                  </a:lnTo>
                  <a:lnTo>
                    <a:pt x="42" y="461"/>
                  </a:lnTo>
                  <a:lnTo>
                    <a:pt x="68" y="399"/>
                  </a:lnTo>
                  <a:lnTo>
                    <a:pt x="101" y="339"/>
                  </a:lnTo>
                  <a:lnTo>
                    <a:pt x="140" y="282"/>
                  </a:lnTo>
                  <a:lnTo>
                    <a:pt x="182" y="230"/>
                  </a:lnTo>
                  <a:lnTo>
                    <a:pt x="230" y="183"/>
                  </a:lnTo>
                  <a:lnTo>
                    <a:pt x="282" y="140"/>
                  </a:lnTo>
                  <a:lnTo>
                    <a:pt x="338" y="102"/>
                  </a:lnTo>
                  <a:lnTo>
                    <a:pt x="399" y="70"/>
                  </a:lnTo>
                  <a:lnTo>
                    <a:pt x="461" y="43"/>
                  </a:lnTo>
                  <a:lnTo>
                    <a:pt x="527" y="22"/>
                  </a:lnTo>
                  <a:lnTo>
                    <a:pt x="596" y="8"/>
                  </a:lnTo>
                  <a:lnTo>
                    <a:pt x="667" y="1"/>
                  </a:lnTo>
                  <a:lnTo>
                    <a:pt x="703" y="0"/>
                  </a:lnTo>
                  <a:lnTo>
                    <a:pt x="740" y="1"/>
                  </a:lnTo>
                  <a:lnTo>
                    <a:pt x="811" y="8"/>
                  </a:lnTo>
                  <a:lnTo>
                    <a:pt x="880" y="22"/>
                  </a:lnTo>
                  <a:lnTo>
                    <a:pt x="946" y="43"/>
                  </a:lnTo>
                  <a:lnTo>
                    <a:pt x="1009" y="70"/>
                  </a:lnTo>
                  <a:lnTo>
                    <a:pt x="1069" y="102"/>
                  </a:lnTo>
                  <a:lnTo>
                    <a:pt x="1125" y="140"/>
                  </a:lnTo>
                  <a:lnTo>
                    <a:pt x="1177" y="183"/>
                  </a:lnTo>
                  <a:lnTo>
                    <a:pt x="1225" y="230"/>
                  </a:lnTo>
                  <a:lnTo>
                    <a:pt x="1267" y="282"/>
                  </a:lnTo>
                  <a:lnTo>
                    <a:pt x="1306" y="339"/>
                  </a:lnTo>
                  <a:lnTo>
                    <a:pt x="1339" y="399"/>
                  </a:lnTo>
                  <a:lnTo>
                    <a:pt x="1365" y="461"/>
                  </a:lnTo>
                  <a:lnTo>
                    <a:pt x="1385" y="529"/>
                  </a:lnTo>
                  <a:lnTo>
                    <a:pt x="1400" y="597"/>
                  </a:lnTo>
                  <a:lnTo>
                    <a:pt x="1407" y="667"/>
                  </a:lnTo>
                  <a:lnTo>
                    <a:pt x="1407" y="704"/>
                  </a:lnTo>
                  <a:lnTo>
                    <a:pt x="1407" y="757"/>
                  </a:lnTo>
                  <a:lnTo>
                    <a:pt x="1397" y="860"/>
                  </a:lnTo>
                  <a:lnTo>
                    <a:pt x="1378" y="964"/>
                  </a:lnTo>
                  <a:lnTo>
                    <a:pt x="1349" y="1065"/>
                  </a:lnTo>
                  <a:lnTo>
                    <a:pt x="1314" y="1164"/>
                  </a:lnTo>
                  <a:lnTo>
                    <a:pt x="1273" y="1260"/>
                  </a:lnTo>
                  <a:lnTo>
                    <a:pt x="1201" y="1396"/>
                  </a:lnTo>
                  <a:lnTo>
                    <a:pt x="1092" y="1562"/>
                  </a:lnTo>
                  <a:lnTo>
                    <a:pt x="976" y="1703"/>
                  </a:lnTo>
                  <a:lnTo>
                    <a:pt x="859" y="1817"/>
                  </a:lnTo>
                  <a:lnTo>
                    <a:pt x="777" y="1879"/>
                  </a:lnTo>
                  <a:lnTo>
                    <a:pt x="727" y="1909"/>
                  </a:lnTo>
                  <a:lnTo>
                    <a:pt x="703" y="192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>
              <a:outerShdw blurRad="127000" sy="23000" kx="1200000" algn="br" rotWithShape="0">
                <a:srgbClr val="000000">
                  <a:alpha val="14117"/>
                </a:srgbClr>
              </a:outerShdw>
            </a:effectLst>
          </p:spPr>
          <p:txBody>
            <a:bodyPr spcFirstLastPara="1" wrap="square" lIns="150125" tIns="75042" rIns="150125" bIns="75042" anchor="t" anchorCtr="0"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sz="2000" dirty="0"/>
            </a:p>
          </p:txBody>
        </p:sp>
        <p:sp>
          <p:nvSpPr>
            <p:cNvPr id="61" name="Google Shape;2274;p66">
              <a:extLst>
                <a:ext uri="{FF2B5EF4-FFF2-40B4-BE49-F238E27FC236}">
                  <a16:creationId xmlns:a16="http://schemas.microsoft.com/office/drawing/2014/main" id="{DAC3FAB9-B92C-56B5-71AB-5030650D6AD7}"/>
                </a:ext>
              </a:extLst>
            </p:cNvPr>
            <p:cNvSpPr/>
            <p:nvPr/>
          </p:nvSpPr>
          <p:spPr>
            <a:xfrm>
              <a:off x="10159489" y="1525451"/>
              <a:ext cx="270434" cy="737541"/>
            </a:xfrm>
            <a:custGeom>
              <a:avLst/>
              <a:gdLst/>
              <a:ahLst/>
              <a:cxnLst/>
              <a:rect l="l" t="t" r="r" b="b"/>
              <a:pathLst>
                <a:path w="704" h="1921" extrusionOk="0">
                  <a:moveTo>
                    <a:pt x="0" y="0"/>
                  </a:moveTo>
                  <a:lnTo>
                    <a:pt x="37" y="1"/>
                  </a:lnTo>
                  <a:lnTo>
                    <a:pt x="108" y="8"/>
                  </a:lnTo>
                  <a:lnTo>
                    <a:pt x="177" y="22"/>
                  </a:lnTo>
                  <a:lnTo>
                    <a:pt x="243" y="43"/>
                  </a:lnTo>
                  <a:lnTo>
                    <a:pt x="306" y="70"/>
                  </a:lnTo>
                  <a:lnTo>
                    <a:pt x="366" y="102"/>
                  </a:lnTo>
                  <a:lnTo>
                    <a:pt x="422" y="140"/>
                  </a:lnTo>
                  <a:lnTo>
                    <a:pt x="474" y="183"/>
                  </a:lnTo>
                  <a:lnTo>
                    <a:pt x="522" y="230"/>
                  </a:lnTo>
                  <a:lnTo>
                    <a:pt x="564" y="282"/>
                  </a:lnTo>
                  <a:lnTo>
                    <a:pt x="603" y="339"/>
                  </a:lnTo>
                  <a:lnTo>
                    <a:pt x="636" y="399"/>
                  </a:lnTo>
                  <a:lnTo>
                    <a:pt x="662" y="461"/>
                  </a:lnTo>
                  <a:lnTo>
                    <a:pt x="682" y="529"/>
                  </a:lnTo>
                  <a:lnTo>
                    <a:pt x="697" y="597"/>
                  </a:lnTo>
                  <a:lnTo>
                    <a:pt x="704" y="667"/>
                  </a:lnTo>
                  <a:lnTo>
                    <a:pt x="704" y="704"/>
                  </a:lnTo>
                  <a:lnTo>
                    <a:pt x="704" y="757"/>
                  </a:lnTo>
                  <a:lnTo>
                    <a:pt x="694" y="860"/>
                  </a:lnTo>
                  <a:lnTo>
                    <a:pt x="675" y="964"/>
                  </a:lnTo>
                  <a:lnTo>
                    <a:pt x="646" y="1065"/>
                  </a:lnTo>
                  <a:lnTo>
                    <a:pt x="611" y="1164"/>
                  </a:lnTo>
                  <a:lnTo>
                    <a:pt x="570" y="1260"/>
                  </a:lnTo>
                  <a:lnTo>
                    <a:pt x="498" y="1396"/>
                  </a:lnTo>
                  <a:lnTo>
                    <a:pt x="389" y="1562"/>
                  </a:lnTo>
                  <a:lnTo>
                    <a:pt x="273" y="1703"/>
                  </a:lnTo>
                  <a:lnTo>
                    <a:pt x="156" y="1817"/>
                  </a:lnTo>
                  <a:lnTo>
                    <a:pt x="74" y="1879"/>
                  </a:lnTo>
                  <a:lnTo>
                    <a:pt x="24" y="1909"/>
                  </a:lnTo>
                  <a:lnTo>
                    <a:pt x="0" y="19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>
              <a:outerShdw blurRad="127000" sy="23000" kx="1200000" algn="br" rotWithShape="0">
                <a:srgbClr val="000000">
                  <a:alpha val="14117"/>
                </a:srgbClr>
              </a:outerShdw>
            </a:effectLst>
          </p:spPr>
          <p:txBody>
            <a:bodyPr spcFirstLastPara="1" wrap="square" lIns="150125" tIns="75042" rIns="150125" bIns="75042" anchor="t" anchorCtr="0"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sz="2000" dirty="0"/>
            </a:p>
          </p:txBody>
        </p:sp>
        <p:sp>
          <p:nvSpPr>
            <p:cNvPr id="62" name="Google Shape;2275;p66">
              <a:extLst>
                <a:ext uri="{FF2B5EF4-FFF2-40B4-BE49-F238E27FC236}">
                  <a16:creationId xmlns:a16="http://schemas.microsoft.com/office/drawing/2014/main" id="{7DBCFD3D-C82E-DE0A-9EA9-803D48BC23BD}"/>
                </a:ext>
              </a:extLst>
            </p:cNvPr>
            <p:cNvSpPr/>
            <p:nvPr/>
          </p:nvSpPr>
          <p:spPr>
            <a:xfrm>
              <a:off x="9936688" y="1574620"/>
              <a:ext cx="444063" cy="44406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>
              <a:outerShdw blurRad="127000" sy="23000" kx="1200000" algn="br" rotWithShape="0">
                <a:srgbClr val="000000">
                  <a:alpha val="14117"/>
                </a:srgbClr>
              </a:outerShdw>
            </a:effectLst>
          </p:spPr>
          <p:txBody>
            <a:bodyPr spcFirstLastPara="1" wrap="square" lIns="0" tIns="75042" rIns="0" bIns="75042" anchor="ctr" anchorCtr="0"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sz="2000" b="1" dirty="0"/>
            </a:p>
          </p:txBody>
        </p:sp>
        <p:sp>
          <p:nvSpPr>
            <p:cNvPr id="63" name="Google Shape;2276;p66">
              <a:extLst>
                <a:ext uri="{FF2B5EF4-FFF2-40B4-BE49-F238E27FC236}">
                  <a16:creationId xmlns:a16="http://schemas.microsoft.com/office/drawing/2014/main" id="{DB8E0968-0D34-23EF-2895-E034DBBE4AB9}"/>
                </a:ext>
              </a:extLst>
            </p:cNvPr>
            <p:cNvSpPr/>
            <p:nvPr/>
          </p:nvSpPr>
          <p:spPr>
            <a:xfrm>
              <a:off x="9958644" y="1599827"/>
              <a:ext cx="393658" cy="39365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150125" tIns="75042" rIns="150125" bIns="75042" anchor="ctr" anchorCtr="0"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r>
                <a:rPr lang="en-US" sz="2000" b="1" dirty="0"/>
                <a:t>5</a:t>
              </a:r>
              <a:endParaRPr sz="2000" dirty="0"/>
            </a:p>
          </p:txBody>
        </p:sp>
      </p:grpSp>
    </p:spTree>
    <p:extLst>
      <p:ext uri="{BB962C8B-B14F-4D97-AF65-F5344CB8AC3E}">
        <p14:creationId xmlns:p14="http://schemas.microsoft.com/office/powerpoint/2010/main" val="41051424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587</TotalTime>
  <Words>22</Words>
  <Application>Microsoft Office PowerPoint</Application>
  <PresentationFormat>Widescreen</PresentationFormat>
  <Paragraphs>1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Trebuchet MS</vt:lpstr>
      <vt:lpstr>Wingdings</vt:lpstr>
      <vt:lpstr>Office Theme</vt:lpstr>
      <vt:lpstr>think-cell Slide</vt:lpstr>
      <vt:lpstr>Timeline 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477</cp:revision>
  <dcterms:created xsi:type="dcterms:W3CDTF">2021-03-31T02:49:57Z</dcterms:created>
  <dcterms:modified xsi:type="dcterms:W3CDTF">2025-10-15T08:31:07Z</dcterms:modified>
  <cp:category/>
</cp:coreProperties>
</file>